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4" r:id="rId4"/>
    <p:sldMasterId id="2147483688" r:id="rId5"/>
    <p:sldMasterId id="2147483780" r:id="rId6"/>
  </p:sldMasterIdLst>
  <p:notesMasterIdLst>
    <p:notesMasterId r:id="rId9"/>
  </p:notesMasterIdLst>
  <p:handoutMasterIdLst>
    <p:handoutMasterId r:id="rId10"/>
  </p:handoutMasterIdLst>
  <p:sldIdLst>
    <p:sldId id="2147480362" r:id="rId7"/>
    <p:sldId id="2147480296" r:id="rId8"/>
  </p:sldIdLst>
  <p:sldSz cx="12192000" cy="6858000"/>
  <p:notesSz cx="6858000" cy="9144000"/>
  <p:custDataLst>
    <p:tags r:id="rId11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CS_VOWEE" id="{815FDCB0-8261-C048-9B7F-B191318D8057}">
          <p14:sldIdLst>
            <p14:sldId id="2147480362"/>
            <p14:sldId id="214748029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16F4CD8-F122-31B9-7A8A-9A01F106891B}" name="Dürmeyer, Felix" initials="DF" userId="S::felix.duermeyer@senacor.com::e681a03b-95e4-4ec6-8dc1-70ae960b340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40FF"/>
    <a:srgbClr val="FF79FF"/>
    <a:srgbClr val="7192C7"/>
    <a:srgbClr val="000000"/>
    <a:srgbClr val="323232"/>
    <a:srgbClr val="F6C111"/>
    <a:srgbClr val="929292"/>
    <a:srgbClr val="EEC345"/>
    <a:srgbClr val="37373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A7EA25-2968-5AAB-395D-FDB7F54ED350}" v="10" dt="2024-02-29T16:18:48.097"/>
    <p1510:client id="{80F28D04-7293-4879-84F3-8887C7173CFB}" v="1" dt="2024-02-29T17:52:52.402"/>
    <p1510:client id="{97C96CE9-FA22-4F89-8F21-30BD74DE6062}" v="131" dt="2024-02-29T17:43:11.2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10DCB21-F4D3-D1D4-CF0D-BF78D59D28E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A16866-EFD6-68E7-47B7-8B090D9388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225DF0-5E4A-495E-AD8C-CC8FDC636079}" type="datetimeFigureOut">
              <a:rPr lang="de-DE" smtClean="0"/>
              <a:t>03.06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A00D9FC-B05C-D34D-37E7-C6467BDC567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790B14-F39F-A965-0690-1D65B64684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1E73CE-A8F7-4FAA-8263-09231EA4F75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9260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5B1B49-9609-4E63-A375-FC459FA5B93F}" type="datetimeFigureOut">
              <a:rPr lang="de-DE" smtClean="0"/>
              <a:t>03.06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E535FA-94A6-4DEF-8F84-D811EAB89C6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230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A69F5-74C8-BA54-396A-EDC7B19215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2CE0C2-D2F2-9B49-4405-B62F60B516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4C9576-08C6-4668-CA75-CBCD566A0A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041B92-1B9A-E0A6-BCE3-51A969D68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4FE50-BCA4-760D-12C3-82E3806CF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2124292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t>Senacor</a:t>
            </a:r>
            <a:r>
              <a:rPr spc="10"/>
              <a:t> </a:t>
            </a:r>
            <a:r>
              <a:rPr spc="-10"/>
              <a:t>Technologies</a:t>
            </a:r>
            <a:r>
              <a:rPr spc="15"/>
              <a:t> </a:t>
            </a:r>
            <a:r>
              <a:rPr spc="-25"/>
              <a:t>AG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fld id="{B8560312-B458-184C-BFBB-61D86AC54962}" type="datetime1">
              <a:rPr lang="de-DE" spc="-10" smtClean="0"/>
              <a:t>03.06.25</a:t>
            </a:fld>
            <a:endParaRPr spc="-1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93980">
              <a:lnSpc>
                <a:spcPct val="100000"/>
              </a:lnSpc>
              <a:spcBef>
                <a:spcPts val="25"/>
              </a:spcBef>
            </a:pPr>
            <a:fld id="{81D60167-4931-47E6-BA6A-407CBD079E47}" type="slidenum">
              <a:rPr spc="-50" dirty="0"/>
              <a:t>‹#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9832205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609896-E5DB-674D-88FD-7BC515AD7F11}" type="datetime1">
              <a:rPr lang="de-DE" smtClean="0"/>
              <a:t>03.06.25</a:t>
            </a:fld>
            <a:endParaRPr lang="en-DE"/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3247391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47391" y="1530910"/>
            <a:ext cx="3214778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62879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2700676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HISTORY (EXCERPT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3247391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4160563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 AND PROFESSIONAL EXPERIENC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47391" y="1530910"/>
            <a:ext cx="3214778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259AD18-06AD-A538-861B-28ED3C8BB8A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6750" y="1223963"/>
            <a:ext cx="2268538" cy="2268537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0945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6000" y="1224000"/>
            <a:ext cx="3600000" cy="2250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10" name="Rechteck: abgerundete Ecken 11">
            <a:extLst>
              <a:ext uri="{FF2B5EF4-FFF2-40B4-BE49-F238E27FC236}">
                <a16:creationId xmlns:a16="http://schemas.microsoft.com/office/drawing/2014/main" id="{92C96352-573F-2FC9-E98D-F8CAD77D796D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D550E258-96D1-B5F1-2DCF-D0CEF37C0371}"/>
              </a:ext>
            </a:extLst>
          </p:cNvPr>
          <p:cNvSpPr>
            <a:spLocks/>
          </p:cNvSpPr>
          <p:nvPr userDrawn="1"/>
        </p:nvSpPr>
        <p:spPr>
          <a:xfrm>
            <a:off x="4481282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8485AF46-F0DE-B958-C8AD-CA5D2ABD1E34}"/>
              </a:ext>
            </a:extLst>
          </p:cNvPr>
          <p:cNvSpPr>
            <a:spLocks/>
          </p:cNvSpPr>
          <p:nvPr userDrawn="1"/>
        </p:nvSpPr>
        <p:spPr>
          <a:xfrm>
            <a:off x="7798631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84B69629-DFBF-5909-FA8F-47719B924F9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7978A72-8177-2FE6-F6E3-52F77F104F6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8B039E53-EBD2-DDC8-77D2-9F30205DA0E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81283" y="1530910"/>
            <a:ext cx="3103942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B1C17E6A-E11C-8079-68F6-B4DF9F6DDB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98631" y="1530910"/>
            <a:ext cx="3914095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D06A65E-A682-7931-B964-F473B1F7FB7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7137" y="1224256"/>
            <a:ext cx="3598863" cy="224948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5517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V-Profil_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2700676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HISTORY (EXCERPT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First </a:t>
            </a:r>
            <a:r>
              <a:rPr lang="de-DE" err="1"/>
              <a:t>name</a:t>
            </a:r>
            <a:r>
              <a:rPr lang="de-DE"/>
              <a:t> Last </a:t>
            </a:r>
            <a:r>
              <a:rPr lang="de-DE" err="1"/>
              <a:t>name</a:t>
            </a:r>
            <a:endParaRPr lang="de-DE"/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3247391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4160563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 AND PROFESSIONAL EXPERIENC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Add Text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Add Text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47391" y="1530910"/>
            <a:ext cx="3214778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dd Focus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dd Experienc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259AD18-06AD-A538-861B-28ED3C8BB8A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6750" y="1223963"/>
            <a:ext cx="2268538" cy="2268537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59550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FC0873E-BDE2-4B4E-BA17-5DC8BECDBDC4}" type="datetime1">
              <a:rPr lang="de-DE" smtClean="0"/>
              <a:t>03.06.25</a:t>
            </a:fld>
            <a:endParaRPr lang="en-DE"/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3247391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47391" y="1530910"/>
            <a:ext cx="3214778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259AD18-06AD-A538-861B-28ED3C8BB8A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6750" y="1223963"/>
            <a:ext cx="2268538" cy="2268537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13542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CBCEEE-98AF-674D-BE27-CD7B41D593FE}" type="datetime1">
              <a:rPr lang="de-DE" smtClean="0"/>
              <a:t>03.06.25</a:t>
            </a:fld>
            <a:endParaRPr lang="en-DE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6000" y="1224000"/>
            <a:ext cx="3600000" cy="2250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10" name="Rechteck: abgerundete Ecken 11">
            <a:extLst>
              <a:ext uri="{FF2B5EF4-FFF2-40B4-BE49-F238E27FC236}">
                <a16:creationId xmlns:a16="http://schemas.microsoft.com/office/drawing/2014/main" id="{92C96352-573F-2FC9-E98D-F8CAD77D796D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D550E258-96D1-B5F1-2DCF-D0CEF37C0371}"/>
              </a:ext>
            </a:extLst>
          </p:cNvPr>
          <p:cNvSpPr>
            <a:spLocks/>
          </p:cNvSpPr>
          <p:nvPr userDrawn="1"/>
        </p:nvSpPr>
        <p:spPr>
          <a:xfrm>
            <a:off x="4481282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8485AF46-F0DE-B958-C8AD-CA5D2ABD1E34}"/>
              </a:ext>
            </a:extLst>
          </p:cNvPr>
          <p:cNvSpPr>
            <a:spLocks/>
          </p:cNvSpPr>
          <p:nvPr userDrawn="1"/>
        </p:nvSpPr>
        <p:spPr>
          <a:xfrm>
            <a:off x="7798631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84B69629-DFBF-5909-FA8F-47719B924F9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7978A72-8177-2FE6-F6E3-52F77F104F6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8B039E53-EBD2-DDC8-77D2-9F30205DA0E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81283" y="1530910"/>
            <a:ext cx="3103942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B1C17E6A-E11C-8079-68F6-B4DF9F6DDB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98631" y="1530910"/>
            <a:ext cx="3914095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D06A65E-A682-7931-B964-F473B1F7FB7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7137" y="1224256"/>
            <a:ext cx="3598863" cy="224948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005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10A3C975-3400-8446-D22D-CD7E126510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14F0D678-749F-5213-EBAC-FE0C6AED6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35" imgH="435" progId="TCLayout.ActiveDocument.1">
                  <p:embed/>
                </p:oleObj>
              </mc:Choice>
              <mc:Fallback>
                <p:oleObj name="think-cell Folie" r:id="rId3" imgW="435" imgH="435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14F0D678-749F-5213-EBAC-FE0C6AED623E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feld 16">
            <a:extLst>
              <a:ext uri="{FF2B5EF4-FFF2-40B4-BE49-F238E27FC236}">
                <a16:creationId xmlns:a16="http://schemas.microsoft.com/office/drawing/2014/main" id="{E397A3F1-954A-E5ED-2502-D7CCF267D9BB}"/>
              </a:ext>
            </a:extLst>
          </p:cNvPr>
          <p:cNvSpPr txBox="1"/>
          <p:nvPr userDrawn="1"/>
        </p:nvSpPr>
        <p:spPr>
          <a:xfrm>
            <a:off x="609918" y="6026900"/>
            <a:ext cx="2060949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fr-FR" sz="1400" b="0" i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lfsburg, 02.02.2024</a:t>
            </a:r>
            <a:endParaRPr lang="de-DE" sz="1400" b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BBFC321-AF73-34B1-2BC3-F5F55D169BC8}"/>
              </a:ext>
            </a:extLst>
          </p:cNvPr>
          <p:cNvGrpSpPr/>
          <p:nvPr userDrawn="1"/>
        </p:nvGrpSpPr>
        <p:grpSpPr>
          <a:xfrm>
            <a:off x="10240057" y="5996920"/>
            <a:ext cx="1470744" cy="209663"/>
            <a:chOff x="10240056" y="330434"/>
            <a:chExt cx="1472671" cy="212964"/>
          </a:xfrm>
          <a:solidFill>
            <a:schemeClr val="bg1"/>
          </a:solidFill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5F9B5ED9-B182-D35E-0CA4-244D48638646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DEF32AD2-2AB2-821D-9830-55060927174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24C5BA9F-1DAB-0988-BB56-856EAC5C7699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268910D7-795A-201D-D128-DA579F31EAC1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F85DC581-2093-7FE7-3F79-4653E226870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E305E9E3-2923-AF80-9675-435CBD4A7CA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C9B26E17-3E17-7697-95DC-6CC4AE123A1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</p:grp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919" y="4496507"/>
            <a:ext cx="11232000" cy="517881"/>
          </a:xfrm>
        </p:spPr>
        <p:txBody>
          <a:bodyPr anchor="b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Lorem</a:t>
            </a:r>
            <a:r>
              <a:rPr lang="de-DE"/>
              <a:t> Ipsum</a:t>
            </a:r>
          </a:p>
        </p:txBody>
      </p:sp>
    </p:spTree>
    <p:extLst>
      <p:ext uri="{BB962C8B-B14F-4D97-AF65-F5344CB8AC3E}">
        <p14:creationId xmlns:p14="http://schemas.microsoft.com/office/powerpoint/2010/main" val="4227339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10A3C975-3400-8446-D22D-CD7E126510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14F0D678-749F-5213-EBAC-FE0C6AED6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784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35" imgH="435" progId="TCLayout.ActiveDocument.1">
                  <p:embed/>
                </p:oleObj>
              </mc:Choice>
              <mc:Fallback>
                <p:oleObj name="think-cell Folie" r:id="rId3" imgW="435" imgH="435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14F0D678-749F-5213-EBAC-FE0C6AED623E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feld 16">
            <a:extLst>
              <a:ext uri="{FF2B5EF4-FFF2-40B4-BE49-F238E27FC236}">
                <a16:creationId xmlns:a16="http://schemas.microsoft.com/office/drawing/2014/main" id="{E397A3F1-954A-E5ED-2502-D7CCF267D9BB}"/>
              </a:ext>
            </a:extLst>
          </p:cNvPr>
          <p:cNvSpPr txBox="1"/>
          <p:nvPr userDrawn="1"/>
        </p:nvSpPr>
        <p:spPr>
          <a:xfrm>
            <a:off x="609918" y="6026900"/>
            <a:ext cx="2060949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fr-FR" sz="1400" b="0" i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lfsburg, 02.02.2024</a:t>
            </a:r>
            <a:endParaRPr lang="de-DE" sz="1400" b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BBFC321-AF73-34B1-2BC3-F5F55D169BC8}"/>
              </a:ext>
            </a:extLst>
          </p:cNvPr>
          <p:cNvGrpSpPr/>
          <p:nvPr userDrawn="1"/>
        </p:nvGrpSpPr>
        <p:grpSpPr>
          <a:xfrm>
            <a:off x="10240057" y="5996920"/>
            <a:ext cx="1470744" cy="209663"/>
            <a:chOff x="10240056" y="330434"/>
            <a:chExt cx="1472671" cy="212964"/>
          </a:xfrm>
          <a:solidFill>
            <a:schemeClr val="bg1"/>
          </a:solidFill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5F9B5ED9-B182-D35E-0CA4-244D48638646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DEF32AD2-2AB2-821D-9830-55060927174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24C5BA9F-1DAB-0988-BB56-856EAC5C7699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268910D7-795A-201D-D128-DA579F31EAC1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F85DC581-2093-7FE7-3F79-4653E226870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E305E9E3-2923-AF80-9675-435CBD4A7CA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C9B26E17-3E17-7697-95DC-6CC4AE123A1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chemeClr val="bg1"/>
                </a:solidFill>
              </a:endParaRPr>
            </a:p>
          </p:txBody>
        </p:sp>
      </p:grp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919" y="4496507"/>
            <a:ext cx="11232000" cy="517881"/>
          </a:xfrm>
        </p:spPr>
        <p:txBody>
          <a:bodyPr anchor="b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Lorem</a:t>
            </a:r>
            <a:r>
              <a:rPr lang="de-DE"/>
              <a:t> Ipsum</a:t>
            </a:r>
          </a:p>
        </p:txBody>
      </p:sp>
    </p:spTree>
    <p:extLst>
      <p:ext uri="{BB962C8B-B14F-4D97-AF65-F5344CB8AC3E}">
        <p14:creationId xmlns:p14="http://schemas.microsoft.com/office/powerpoint/2010/main" val="1724566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  <a:solidFill>
            <a:schemeClr val="tx1"/>
          </a:solidFill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2512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73231CC-6CAE-970D-B285-D7FC1F5152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64964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3231CC-6CAE-970D-B285-D7FC1F5152A1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19999"/>
            <a:ext cx="11232000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7A2075-B767-A0E7-D40F-8D9F91D376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478800" y="1692000"/>
            <a:ext cx="11232000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715206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Wingdings" panose="05000000000000000000" pitchFamily="2" charset="2"/>
        <a:buChar char="§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Symbol" panose="05050102010706020507" pitchFamily="18" charset="2"/>
        <a:buChar char="-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+mj-lt"/>
        <a:buAutoNum type="arabicPeriod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+mj-lt"/>
        <a:buAutoNum type="alphaLcPeriod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b="1" kern="1200">
          <a:solidFill>
            <a:schemeClr val="accent1"/>
          </a:solidFill>
          <a:latin typeface="Arial" panose="020B0604020202020204" pitchFamily="34" charset="0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b="1" kern="1200">
          <a:solidFill>
            <a:schemeClr val="accent2"/>
          </a:solidFill>
          <a:latin typeface="Arial" panose="020B0604020202020204" pitchFamily="34" charset="0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8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02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orient="horz" pos="1063" userDrawn="1">
          <p15:clr>
            <a:srgbClr val="F26B43"/>
          </p15:clr>
        </p15:guide>
        <p15:guide id="6" orient="horz" pos="40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BF18650-DC51-3E17-F487-761E564586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348911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F18650-DC51-3E17-F487-761E56458674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99" y="719999"/>
            <a:ext cx="11233927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5CE9A30-C9AE-3917-8A79-651505040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799" y="1692000"/>
            <a:ext cx="11221201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2324410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0" r:id="rId2"/>
    <p:sldLayoutId id="2147483778" r:id="rId3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Symbol" pitchFamily="2" charset="2"/>
        <a:buChar char="-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rabi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lphaL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4020" userDrawn="1">
          <p15:clr>
            <a:srgbClr val="F26B43"/>
          </p15:clr>
        </p15:guide>
        <p15:guide id="3" orient="horz" pos="1063" userDrawn="1">
          <p15:clr>
            <a:srgbClr val="F26B43"/>
          </p15:clr>
        </p15:guide>
        <p15:guide id="4" pos="30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F1E4316-3E1B-9EBB-9665-738E9E2BB1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77483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05" imgH="405" progId="TCLayout.ActiveDocument.1">
                  <p:embed/>
                </p:oleObj>
              </mc:Choice>
              <mc:Fallback>
                <p:oleObj name="think-cell Folie" r:id="rId10" imgW="405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1E4316-3E1B-9EBB-9665-738E9E2BB180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99" y="719999"/>
            <a:ext cx="11233927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3D57E7-A825-914A-90DF-6E9B38210630}" type="datetime1">
              <a:rPr lang="de-DE" smtClean="0"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5CE9A30-C9AE-3917-8A79-651505040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799" y="1692000"/>
            <a:ext cx="11221201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3611433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Symbol" pitchFamily="2" charset="2"/>
        <a:buChar char="-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rabi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lphaL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4020">
          <p15:clr>
            <a:srgbClr val="F26B43"/>
          </p15:clr>
        </p15:guide>
        <p15:guide id="3" orient="horz" pos="1063">
          <p15:clr>
            <a:srgbClr val="F26B43"/>
          </p15:clr>
        </p15:guide>
        <p15:guide id="4" pos="302">
          <p15:clr>
            <a:srgbClr val="F26B43"/>
          </p15:clr>
        </p15:guide>
        <p15:guide id="5" pos="7378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658E48-8C91-2A78-80A2-4429419081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F00CD29-1C94-A8DD-FD48-877DD3D90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m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A94227-C1FE-988B-333C-DD383BA791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Partner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C3F8FBC-A017-EC8D-8505-C585AD5382E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D9FD3D1-BB40-6FEC-8062-F2E06364D20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" name="Content Placeholder 16">
            <a:extLst>
              <a:ext uri="{FF2B5EF4-FFF2-40B4-BE49-F238E27FC236}">
                <a16:creationId xmlns:a16="http://schemas.microsoft.com/office/drawing/2014/main" id="{BD43F84A-A535-99C4-5E03-72C55B238DE6}"/>
              </a:ext>
            </a:extLst>
          </p:cNvPr>
          <p:cNvSpPr txBox="1">
            <a:spLocks noChangeAspect="1"/>
          </p:cNvSpPr>
          <p:nvPr/>
        </p:nvSpPr>
        <p:spPr>
          <a:xfrm>
            <a:off x="485282" y="4101476"/>
            <a:ext cx="5501753" cy="228124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515" indent="-183515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itchFamily="2" charset="2"/>
              <a:buChar char="§"/>
            </a:pPr>
            <a:endParaRPr lang="de-DE" sz="10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ontent Placeholder 16">
            <a:extLst>
              <a:ext uri="{FF2B5EF4-FFF2-40B4-BE49-F238E27FC236}">
                <a16:creationId xmlns:a16="http://schemas.microsoft.com/office/drawing/2014/main" id="{A2633634-7370-A9CB-CE45-3D3DCCCDD6E4}"/>
              </a:ext>
            </a:extLst>
          </p:cNvPr>
          <p:cNvSpPr txBox="1">
            <a:spLocks noChangeAspect="1"/>
          </p:cNvSpPr>
          <p:nvPr/>
        </p:nvSpPr>
        <p:spPr>
          <a:xfrm>
            <a:off x="6204967" y="4082736"/>
            <a:ext cx="5501753" cy="228124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515" indent="-183515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itchFamily="2" charset="2"/>
              <a:buChar char="§"/>
            </a:pPr>
            <a:endParaRPr lang="de-DE" sz="10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2F5FD091-7B7A-36FC-275D-C180E277E08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1159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256801-5E30-9A68-1E88-E217313EE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6CEDA24-7B70-2659-50D7-1040DA5DC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m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2B4E034-38E4-D1A9-6E12-6FD87F3D82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Partner</a:t>
            </a:r>
          </a:p>
        </p:txBody>
      </p:sp>
      <p:sp>
        <p:nvSpPr>
          <p:cNvPr id="13" name="Content Placeholder 16">
            <a:extLst>
              <a:ext uri="{FF2B5EF4-FFF2-40B4-BE49-F238E27FC236}">
                <a16:creationId xmlns:a16="http://schemas.microsoft.com/office/drawing/2014/main" id="{46EC1975-869C-2E08-D7E8-9D744247B644}"/>
              </a:ext>
            </a:extLst>
          </p:cNvPr>
          <p:cNvSpPr txBox="1">
            <a:spLocks noChangeAspect="1"/>
          </p:cNvSpPr>
          <p:nvPr/>
        </p:nvSpPr>
        <p:spPr>
          <a:xfrm>
            <a:off x="485282" y="4101476"/>
            <a:ext cx="5501753" cy="228124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00" indent="-183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itchFamily="2" charset="2"/>
              <a:buChar char="§"/>
            </a:pPr>
            <a:endParaRPr lang="de-DE" sz="10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180710C3-0E8B-E8EC-6A37-46D49949CFD7}"/>
              </a:ext>
            </a:extLst>
          </p:cNvPr>
          <p:cNvSpPr txBox="1">
            <a:spLocks noChangeAspect="1"/>
          </p:cNvSpPr>
          <p:nvPr/>
        </p:nvSpPr>
        <p:spPr>
          <a:xfrm>
            <a:off x="6204967" y="4082736"/>
            <a:ext cx="5501753" cy="228124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00" indent="-183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itchFamily="2" charset="2"/>
              <a:buChar char="§"/>
            </a:pPr>
            <a:endParaRPr lang="de-DE" sz="10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FE7A8454-5167-AE98-3D8C-651CBB90B385}"/>
              </a:ext>
            </a:extLst>
          </p:cNvPr>
          <p:cNvSpPr txBox="1">
            <a:spLocks/>
          </p:cNvSpPr>
          <p:nvPr/>
        </p:nvSpPr>
        <p:spPr>
          <a:xfrm>
            <a:off x="3247391" y="1530910"/>
            <a:ext cx="3214778" cy="195099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17145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Symbol" pitchFamily="2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lphaLcPeriod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de-DE" dirty="0"/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D4A6E515-B7FE-C921-4B6A-3F7BC23E89EB}"/>
              </a:ext>
            </a:extLst>
          </p:cNvPr>
          <p:cNvSpPr txBox="1">
            <a:spLocks/>
          </p:cNvSpPr>
          <p:nvPr/>
        </p:nvSpPr>
        <p:spPr>
          <a:xfrm>
            <a:off x="6684354" y="1530910"/>
            <a:ext cx="5028373" cy="195099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 marL="17145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Symbol" pitchFamily="2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lphaLcPeriod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de-DE" dirty="0"/>
          </a:p>
        </p:txBody>
      </p:sp>
      <p:sp>
        <p:nvSpPr>
          <p:cNvPr id="15" name="Flussdiagramm: Alternativer Prozess 7">
            <a:extLst>
              <a:ext uri="{FF2B5EF4-FFF2-40B4-BE49-F238E27FC236}">
                <a16:creationId xmlns:a16="http://schemas.microsoft.com/office/drawing/2014/main" id="{406D62C2-A83F-4B3B-5171-ADBA0C754D4D}"/>
              </a:ext>
            </a:extLst>
          </p:cNvPr>
          <p:cNvSpPr/>
          <p:nvPr/>
        </p:nvSpPr>
        <p:spPr>
          <a:xfrm>
            <a:off x="4564742" y="180000"/>
            <a:ext cx="3062040" cy="504646"/>
          </a:xfrm>
          <a:custGeom>
            <a:avLst/>
            <a:gdLst>
              <a:gd name="connsiteX0" fmla="*/ 0 w 4678017"/>
              <a:gd name="connsiteY0" fmla="*/ 229704 h 1378226"/>
              <a:gd name="connsiteX1" fmla="*/ 229704 w 4678017"/>
              <a:gd name="connsiteY1" fmla="*/ 0 h 1378226"/>
              <a:gd name="connsiteX2" fmla="*/ 4448313 w 4678017"/>
              <a:gd name="connsiteY2" fmla="*/ 0 h 1378226"/>
              <a:gd name="connsiteX3" fmla="*/ 4678017 w 4678017"/>
              <a:gd name="connsiteY3" fmla="*/ 229704 h 1378226"/>
              <a:gd name="connsiteX4" fmla="*/ 4678017 w 4678017"/>
              <a:gd name="connsiteY4" fmla="*/ 1148522 h 1378226"/>
              <a:gd name="connsiteX5" fmla="*/ 4448313 w 4678017"/>
              <a:gd name="connsiteY5" fmla="*/ 1378226 h 1378226"/>
              <a:gd name="connsiteX6" fmla="*/ 229704 w 4678017"/>
              <a:gd name="connsiteY6" fmla="*/ 1378226 h 1378226"/>
              <a:gd name="connsiteX7" fmla="*/ 0 w 4678017"/>
              <a:gd name="connsiteY7" fmla="*/ 1148522 h 1378226"/>
              <a:gd name="connsiteX8" fmla="*/ 0 w 4678017"/>
              <a:gd name="connsiteY8" fmla="*/ 229704 h 1378226"/>
              <a:gd name="connsiteX0" fmla="*/ 116954 w 4794971"/>
              <a:gd name="connsiteY0" fmla="*/ 229704 h 1378226"/>
              <a:gd name="connsiteX1" fmla="*/ 41858 w 4794971"/>
              <a:gd name="connsiteY1" fmla="*/ 6626 h 1378226"/>
              <a:gd name="connsiteX2" fmla="*/ 4565267 w 4794971"/>
              <a:gd name="connsiteY2" fmla="*/ 0 h 1378226"/>
              <a:gd name="connsiteX3" fmla="*/ 4794971 w 4794971"/>
              <a:gd name="connsiteY3" fmla="*/ 229704 h 1378226"/>
              <a:gd name="connsiteX4" fmla="*/ 4794971 w 4794971"/>
              <a:gd name="connsiteY4" fmla="*/ 1148522 h 1378226"/>
              <a:gd name="connsiteX5" fmla="*/ 4565267 w 4794971"/>
              <a:gd name="connsiteY5" fmla="*/ 1378226 h 1378226"/>
              <a:gd name="connsiteX6" fmla="*/ 346658 w 4794971"/>
              <a:gd name="connsiteY6" fmla="*/ 1378226 h 1378226"/>
              <a:gd name="connsiteX7" fmla="*/ 116954 w 4794971"/>
              <a:gd name="connsiteY7" fmla="*/ 1148522 h 1378226"/>
              <a:gd name="connsiteX8" fmla="*/ 116954 w 4794971"/>
              <a:gd name="connsiteY8" fmla="*/ 229704 h 1378226"/>
              <a:gd name="connsiteX0" fmla="*/ 211762 w 4889779"/>
              <a:gd name="connsiteY0" fmla="*/ 229705 h 1378227"/>
              <a:gd name="connsiteX1" fmla="*/ 30649 w 4889779"/>
              <a:gd name="connsiteY1" fmla="*/ 0 h 1378227"/>
              <a:gd name="connsiteX2" fmla="*/ 4660075 w 4889779"/>
              <a:gd name="connsiteY2" fmla="*/ 1 h 1378227"/>
              <a:gd name="connsiteX3" fmla="*/ 4889779 w 4889779"/>
              <a:gd name="connsiteY3" fmla="*/ 229705 h 1378227"/>
              <a:gd name="connsiteX4" fmla="*/ 4889779 w 4889779"/>
              <a:gd name="connsiteY4" fmla="*/ 1148523 h 1378227"/>
              <a:gd name="connsiteX5" fmla="*/ 4660075 w 4889779"/>
              <a:gd name="connsiteY5" fmla="*/ 1378227 h 1378227"/>
              <a:gd name="connsiteX6" fmla="*/ 441466 w 4889779"/>
              <a:gd name="connsiteY6" fmla="*/ 1378227 h 1378227"/>
              <a:gd name="connsiteX7" fmla="*/ 211762 w 4889779"/>
              <a:gd name="connsiteY7" fmla="*/ 1148523 h 1378227"/>
              <a:gd name="connsiteX8" fmla="*/ 211762 w 4889779"/>
              <a:gd name="connsiteY8" fmla="*/ 229705 h 1378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9779" h="1378227">
                <a:moveTo>
                  <a:pt x="211762" y="229705"/>
                </a:moveTo>
                <a:cubicBezTo>
                  <a:pt x="211762" y="102843"/>
                  <a:pt x="-96213" y="0"/>
                  <a:pt x="30649" y="0"/>
                </a:cubicBezTo>
                <a:lnTo>
                  <a:pt x="4660075" y="1"/>
                </a:lnTo>
                <a:cubicBezTo>
                  <a:pt x="4786937" y="1"/>
                  <a:pt x="4889779" y="102843"/>
                  <a:pt x="4889779" y="229705"/>
                </a:cubicBezTo>
                <a:lnTo>
                  <a:pt x="4889779" y="1148523"/>
                </a:lnTo>
                <a:cubicBezTo>
                  <a:pt x="4889779" y="1275385"/>
                  <a:pt x="4786937" y="1378227"/>
                  <a:pt x="4660075" y="1378227"/>
                </a:cubicBezTo>
                <a:lnTo>
                  <a:pt x="441466" y="1378227"/>
                </a:lnTo>
                <a:cubicBezTo>
                  <a:pt x="314604" y="1378227"/>
                  <a:pt x="211762" y="1275385"/>
                  <a:pt x="211762" y="1148523"/>
                </a:cubicBezTo>
                <a:lnTo>
                  <a:pt x="211762" y="22970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err="1">
                <a:ea typeface="+mn-lt"/>
                <a:cs typeface="+mn-lt"/>
              </a:rPr>
              <a:t>customer</a:t>
            </a:r>
            <a:r>
              <a:rPr lang="de-DE" sz="1400" b="1">
                <a:ea typeface="+mn-lt"/>
                <a:cs typeface="+mn-lt"/>
              </a:rPr>
              <a:t> </a:t>
            </a:r>
            <a:r>
              <a:rPr lang="de-DE" sz="1400" b="1" err="1">
                <a:ea typeface="+mn-lt"/>
                <a:cs typeface="+mn-lt"/>
              </a:rPr>
              <a:t>anonymous</a:t>
            </a:r>
            <a:r>
              <a:rPr lang="de-DE" sz="1400" b="1">
                <a:ea typeface="+mn-lt"/>
                <a:cs typeface="+mn-lt"/>
              </a:rPr>
              <a:t> </a:t>
            </a:r>
            <a:r>
              <a:rPr lang="de-DE" sz="1400" b="1" err="1">
                <a:ea typeface="+mn-lt"/>
                <a:cs typeface="+mn-lt"/>
              </a:rPr>
              <a:t>version</a:t>
            </a:r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2487C4E-FDFC-ABE4-25A0-514EA0555419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446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 2023 (Dark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noAutofit/>
      </a:bodyPr>
      <a:lstStyle>
        <a:defPPr marL="171450" indent="-171450" algn="l">
          <a:spcAft>
            <a:spcPts val="330"/>
          </a:spcAft>
          <a:buFont typeface="Wingdings" pitchFamily="2" charset="2"/>
          <a:buChar char="§"/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Master_2023" id="{69E2B91C-73F8-3141-9371-DDB6FAB7484B}" vid="{D24E23BC-4089-724E-AE17-D279E1740A09}"/>
    </a:ext>
  </a:extLst>
</a:theme>
</file>

<file path=ppt/theme/theme2.xml><?xml version="1.0" encoding="utf-8"?>
<a:theme xmlns:a="http://schemas.openxmlformats.org/drawingml/2006/main" name="Senacor 2023 (Light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noAutofit/>
      </a:bodyPr>
      <a:lstStyle>
        <a:defPPr marL="180000" indent="-180000" algn="l">
          <a:lnSpc>
            <a:spcPct val="110000"/>
          </a:lnSpc>
          <a:spcBef>
            <a:spcPts val="400"/>
          </a:spcBef>
          <a:spcAft>
            <a:spcPts val="400"/>
          </a:spcAft>
          <a:buFont typeface="Wingdings" pitchFamily="2" charset="2"/>
          <a:buChar char="§"/>
          <a:defRPr sz="120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2023 Design" id="{2CA9BC13-F80B-4613-ABA7-5709D830275C}" vid="{AB471A79-B682-400B-9E72-8ACC93ECDCB0}"/>
    </a:ext>
  </a:extLst>
</a:theme>
</file>

<file path=ppt/theme/theme3.xml><?xml version="1.0" encoding="utf-8"?>
<a:theme xmlns:a="http://schemas.openxmlformats.org/drawingml/2006/main" name="1_Senacor 2023 (Light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noAutofit/>
      </a:bodyPr>
      <a:lstStyle>
        <a:defPPr marL="180000" indent="-180000" algn="l">
          <a:lnSpc>
            <a:spcPct val="110000"/>
          </a:lnSpc>
          <a:spcBef>
            <a:spcPts val="400"/>
          </a:spcBef>
          <a:spcAft>
            <a:spcPts val="400"/>
          </a:spcAft>
          <a:buFont typeface="Wingdings" pitchFamily="2" charset="2"/>
          <a:buChar char="§"/>
          <a:defRPr sz="120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2023 Design" id="{2CA9BC13-F80B-4613-ABA7-5709D830275C}" vid="{AB471A79-B682-400B-9E72-8ACC93ECDCB0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70c37c3-6fe6-4316-bb79-6c535e774478">
      <Terms xmlns="http://schemas.microsoft.com/office/infopath/2007/PartnerControls"/>
    </lcf76f155ced4ddcb4097134ff3c332f>
    <TaxCatchAll xmlns="f247cc86-41ce-4e54-895f-61d07d03751e" xsi:nil="true"/>
    <SharedWithUsers xmlns="f247cc86-41ce-4e54-895f-61d07d03751e">
      <UserInfo>
        <DisplayName>Gumlich, Timo</DisplayName>
        <AccountId>988</AccountId>
        <AccountType/>
      </UserInfo>
    </SharedWithUsers>
    <Personen xmlns="c70c37c3-6fe6-4316-bb79-6c535e774478">
      <UserInfo>
        <DisplayName/>
        <AccountId xsi:nil="true"/>
        <AccountType/>
      </UserInfo>
    </Personen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369A2B9592B44C89D12E69AC892C99" ma:contentTypeVersion="13" ma:contentTypeDescription="Ein neues Dokument erstellen." ma:contentTypeScope="" ma:versionID="e751e2ca1d7ce197800ba94b0f09aa65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ab5c457f17bbc802fd4f1b72ab1df8c0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83A819-51AB-478F-855E-A0B89FBD5DC9}">
  <ds:schemaRefs>
    <ds:schemaRef ds:uri="http://purl.org/dc/elements/1.1/"/>
    <ds:schemaRef ds:uri="http://purl.org/dc/dcmitype/"/>
    <ds:schemaRef ds:uri="http://schemas.microsoft.com/office/2006/documentManagement/types"/>
    <ds:schemaRef ds:uri="896e6d41-da10-4c30-ab4e-332975642d34"/>
    <ds:schemaRef ds:uri="http://schemas.microsoft.com/office/infopath/2007/PartnerControls"/>
    <ds:schemaRef ds:uri="http://schemas.openxmlformats.org/package/2006/metadata/core-properties"/>
    <ds:schemaRef ds:uri="d92fabe0-170e-4a80-b096-7cc0b8362d05"/>
    <ds:schemaRef ds:uri="http://schemas.microsoft.com/office/2006/metadata/properties"/>
    <ds:schemaRef ds:uri="http://www.w3.org/XML/1998/namespace"/>
    <ds:schemaRef ds:uri="http://purl.org/dc/terms/"/>
    <ds:schemaRef ds:uri="c70c37c3-6fe6-4316-bb79-6c535e774478"/>
    <ds:schemaRef ds:uri="f247cc86-41ce-4e54-895f-61d07d03751e"/>
  </ds:schemaRefs>
</ds:datastoreItem>
</file>

<file path=customXml/itemProps2.xml><?xml version="1.0" encoding="utf-8"?>
<ds:datastoreItem xmlns:ds="http://schemas.openxmlformats.org/officeDocument/2006/customXml" ds:itemID="{41105344-4E4D-4A05-949C-9504BEA8045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56B87CD-8840-40B9-913F-6269E16157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2497ec2-0945-4f55-8021-79766363dd96}" enabled="0" method="" siteId="{52497ec2-0945-4f55-8021-79766363dd96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</Words>
  <Application>Microsoft Macintosh PowerPoint</Application>
  <PresentationFormat>Widescreen</PresentationFormat>
  <Paragraphs>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Barlow</vt:lpstr>
      <vt:lpstr>Calibri</vt:lpstr>
      <vt:lpstr>Symbol</vt:lpstr>
      <vt:lpstr>Wingdings</vt:lpstr>
      <vt:lpstr>Senacor 2023 (Dark)</vt:lpstr>
      <vt:lpstr>Senacor 2023 (Light)</vt:lpstr>
      <vt:lpstr>1_Senacor 2023 (Light)</vt:lpstr>
      <vt:lpstr>think-cell Folie</vt:lpstr>
      <vt:lpstr>Name</vt:lpstr>
      <vt:lpstr>Na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nacor Präsentation</dc:title>
  <dc:subject>IT-Beratung</dc:subject>
  <dc:creator>Brusch, Ulf</dc:creator>
  <cp:keywords>Senacor Farbschema</cp:keywords>
  <cp:lastModifiedBy>Heinrich, Daniel</cp:lastModifiedBy>
  <cp:revision>4</cp:revision>
  <cp:lastPrinted>2023-09-29T10:30:56Z</cp:lastPrinted>
  <dcterms:created xsi:type="dcterms:W3CDTF">2023-05-16T12:46:23Z</dcterms:created>
  <dcterms:modified xsi:type="dcterms:W3CDTF">2025-06-03T10:45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369A2B9592B44C89D12E69AC892C99</vt:lpwstr>
  </property>
  <property fmtid="{D5CDD505-2E9C-101B-9397-08002B2CF9AE}" pid="3" name="MediaServiceImageTags">
    <vt:lpwstr/>
  </property>
  <property fmtid="{D5CDD505-2E9C-101B-9397-08002B2CF9AE}" pid="4" name="Order">
    <vt:r8>78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TriggerFlowInfo">
    <vt:lpwstr/>
  </property>
</Properties>
</file>